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0" r:id="rId2"/>
  </p:sldIdLst>
  <p:sldSz cx="7556500" cy="10693400"/>
  <p:notesSz cx="6858000" cy="9144000"/>
  <p:embeddedFontLst>
    <p:embeddedFont>
      <p:font typeface="Ovo" panose="02020502070400060406" pitchFamily="18" charset="0"/>
      <p:regular r:id="rId3"/>
    </p:embeddedFont>
    <p:embeddedFont>
      <p:font typeface="Pinyon Script" pitchFamily="2" charset="0"/>
      <p:regular r:id="rId4"/>
    </p:embeddedFont>
    <p:embeddedFont>
      <p:font typeface="Playfair Display SemiBold" pitchFamily="2" charset="0"/>
      <p:bold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1782" y="-13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26" Type="http://schemas.openxmlformats.org/officeDocument/2006/relationships/image" Target="../media/image24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sv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Relationship Id="rId27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48D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5">
            <a:extLst>
              <a:ext uri="{FF2B5EF4-FFF2-40B4-BE49-F238E27FC236}">
                <a16:creationId xmlns:a16="http://schemas.microsoft.com/office/drawing/2014/main" id="{57B90E13-A519-52EA-E0B8-86DA5299302A}"/>
              </a:ext>
            </a:extLst>
          </p:cNvPr>
          <p:cNvGrpSpPr/>
          <p:nvPr/>
        </p:nvGrpSpPr>
        <p:grpSpPr>
          <a:xfrm>
            <a:off x="-2344631" y="-1170251"/>
            <a:ext cx="11451764" cy="15759702"/>
            <a:chOff x="-2344631" y="-1170251"/>
            <a:chExt cx="11451764" cy="1575970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42247A6-1C1D-76D2-6DB2-0A052E6D8803}"/>
                </a:ext>
              </a:extLst>
            </p:cNvPr>
            <p:cNvGrpSpPr/>
            <p:nvPr/>
          </p:nvGrpSpPr>
          <p:grpSpPr>
            <a:xfrm>
              <a:off x="-2344631" y="-1170251"/>
              <a:ext cx="11451764" cy="15759702"/>
              <a:chOff x="-2344631" y="-1170251"/>
              <a:chExt cx="11451764" cy="15759702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EE2D2189-59DA-1A7F-AF68-D8E0BF791EA1}"/>
                  </a:ext>
                </a:extLst>
              </p:cNvPr>
              <p:cNvSpPr/>
              <p:nvPr/>
            </p:nvSpPr>
            <p:spPr>
              <a:xfrm rot="-7353107">
                <a:off x="4338124" y="-1366008"/>
                <a:ext cx="1521181" cy="2045285"/>
              </a:xfrm>
              <a:custGeom>
                <a:avLst/>
                <a:gdLst>
                  <a:gd name="connsiteX0" fmla="*/ 1006026 w 1521181"/>
                  <a:gd name="connsiteY0" fmla="*/ 0 h 2045285"/>
                  <a:gd name="connsiteX1" fmla="*/ 0 w 1521181"/>
                  <a:gd name="connsiteY1" fmla="*/ 1576000 h 2045285"/>
                  <a:gd name="connsiteX2" fmla="*/ 0 w 1521181"/>
                  <a:gd name="connsiteY2" fmla="*/ 0 h 2045285"/>
                  <a:gd name="connsiteX3" fmla="*/ 1521181 w 1521181"/>
                  <a:gd name="connsiteY3" fmla="*/ 114021 h 2045285"/>
                  <a:gd name="connsiteX4" fmla="*/ 1342560 w 1521181"/>
                  <a:gd name="connsiteY4" fmla="*/ 0 h 2045285"/>
                  <a:gd name="connsiteX5" fmla="*/ 1521181 w 1521181"/>
                  <a:gd name="connsiteY5" fmla="*/ 0 h 2045285"/>
                  <a:gd name="connsiteX6" fmla="*/ 709772 w 1521181"/>
                  <a:gd name="connsiteY6" fmla="*/ 2045285 h 2045285"/>
                  <a:gd name="connsiteX7" fmla="*/ 0 w 1521181"/>
                  <a:gd name="connsiteY7" fmla="*/ 2045285 h 2045285"/>
                  <a:gd name="connsiteX8" fmla="*/ 0 w 1521181"/>
                  <a:gd name="connsiteY8" fmla="*/ 1592208 h 2045285"/>
                  <a:gd name="connsiteX9" fmla="*/ 1521181 w 1521181"/>
                  <a:gd name="connsiteY9" fmla="*/ 2045285 h 2045285"/>
                  <a:gd name="connsiteX10" fmla="*/ 1037608 w 1521181"/>
                  <a:gd name="connsiteY10" fmla="*/ 2045285 h 2045285"/>
                  <a:gd name="connsiteX11" fmla="*/ 1521181 w 1521181"/>
                  <a:gd name="connsiteY11" fmla="*/ 1287740 h 2045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1181" h="2045285">
                    <a:moveTo>
                      <a:pt x="1006026" y="0"/>
                    </a:moveTo>
                    <a:lnTo>
                      <a:pt x="0" y="1576000"/>
                    </a:lnTo>
                    <a:lnTo>
                      <a:pt x="0" y="0"/>
                    </a:lnTo>
                    <a:close/>
                    <a:moveTo>
                      <a:pt x="1521181" y="114021"/>
                    </a:moveTo>
                    <a:lnTo>
                      <a:pt x="1342560" y="0"/>
                    </a:lnTo>
                    <a:lnTo>
                      <a:pt x="1521181" y="0"/>
                    </a:lnTo>
                    <a:close/>
                    <a:moveTo>
                      <a:pt x="709772" y="2045285"/>
                    </a:moveTo>
                    <a:lnTo>
                      <a:pt x="0" y="2045285"/>
                    </a:lnTo>
                    <a:lnTo>
                      <a:pt x="0" y="1592208"/>
                    </a:lnTo>
                    <a:close/>
                    <a:moveTo>
                      <a:pt x="1521181" y="2045285"/>
                    </a:moveTo>
                    <a:lnTo>
                      <a:pt x="1037608" y="2045285"/>
                    </a:lnTo>
                    <a:lnTo>
                      <a:pt x="1521181" y="1287740"/>
                    </a:lnTo>
                    <a:close/>
                  </a:path>
                </a:pathLst>
              </a:custGeom>
              <a:blipFill>
                <a:blip r:embed="rId3">
                  <a:alphaModFix amt="1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CBE95DC-185E-CBA1-63C4-193C3E2D1E38}"/>
                  </a:ext>
                </a:extLst>
              </p:cNvPr>
              <p:cNvSpPr/>
              <p:nvPr/>
            </p:nvSpPr>
            <p:spPr>
              <a:xfrm rot="-6673011" flipH="1">
                <a:off x="5977480" y="-1667865"/>
                <a:ext cx="2241289" cy="3236518"/>
              </a:xfrm>
              <a:custGeom>
                <a:avLst/>
                <a:gdLst>
                  <a:gd name="connsiteX0" fmla="*/ 0 w 2241289"/>
                  <a:gd name="connsiteY0" fmla="*/ 453815 h 3236518"/>
                  <a:gd name="connsiteX1" fmla="*/ 619902 w 2241289"/>
                  <a:gd name="connsiteY1" fmla="*/ 213161 h 3236518"/>
                  <a:gd name="connsiteX2" fmla="*/ 1325405 w 2241289"/>
                  <a:gd name="connsiteY2" fmla="*/ 2030472 h 3236518"/>
                  <a:gd name="connsiteX3" fmla="*/ 1628753 w 2241289"/>
                  <a:gd name="connsiteY3" fmla="*/ 1912709 h 3236518"/>
                  <a:gd name="connsiteX4" fmla="*/ 2058164 w 2241289"/>
                  <a:gd name="connsiteY4" fmla="*/ 3018832 h 3236518"/>
                  <a:gd name="connsiteX5" fmla="*/ 1497424 w 2241289"/>
                  <a:gd name="connsiteY5" fmla="*/ 3236518 h 3236518"/>
                  <a:gd name="connsiteX6" fmla="*/ 2241289 w 2241289"/>
                  <a:gd name="connsiteY6" fmla="*/ 3236518 h 3236518"/>
                  <a:gd name="connsiteX7" fmla="*/ 2241289 w 2241289"/>
                  <a:gd name="connsiteY7" fmla="*/ 0 h 3236518"/>
                  <a:gd name="connsiteX8" fmla="*/ 0 w 2241289"/>
                  <a:gd name="connsiteY8" fmla="*/ 0 h 3236518"/>
                  <a:gd name="connsiteX9" fmla="*/ 0 w 2241289"/>
                  <a:gd name="connsiteY9" fmla="*/ 3236518 h 3236518"/>
                  <a:gd name="connsiteX10" fmla="*/ 1171323 w 2241289"/>
                  <a:gd name="connsiteY10" fmla="*/ 3236518 h 3236518"/>
                  <a:gd name="connsiteX11" fmla="*/ 795822 w 2241289"/>
                  <a:gd name="connsiteY11" fmla="*/ 2269264 h 3236518"/>
                  <a:gd name="connsiteX12" fmla="*/ 361324 w 2241289"/>
                  <a:gd name="connsiteY12" fmla="*/ 2437942 h 3236518"/>
                  <a:gd name="connsiteX13" fmla="*/ 0 w 2241289"/>
                  <a:gd name="connsiteY13" fmla="*/ 1507205 h 3236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41289" h="3236518">
                    <a:moveTo>
                      <a:pt x="0" y="453815"/>
                    </a:moveTo>
                    <a:lnTo>
                      <a:pt x="619902" y="213161"/>
                    </a:lnTo>
                    <a:lnTo>
                      <a:pt x="1325405" y="2030472"/>
                    </a:lnTo>
                    <a:lnTo>
                      <a:pt x="1628753" y="1912709"/>
                    </a:lnTo>
                    <a:lnTo>
                      <a:pt x="2058164" y="3018832"/>
                    </a:lnTo>
                    <a:lnTo>
                      <a:pt x="1497424" y="3236518"/>
                    </a:lnTo>
                    <a:lnTo>
                      <a:pt x="2241289" y="3236518"/>
                    </a:lnTo>
                    <a:lnTo>
                      <a:pt x="2241289" y="0"/>
                    </a:lnTo>
                    <a:lnTo>
                      <a:pt x="0" y="0"/>
                    </a:lnTo>
                    <a:close/>
                    <a:moveTo>
                      <a:pt x="0" y="3236518"/>
                    </a:moveTo>
                    <a:lnTo>
                      <a:pt x="1171323" y="3236518"/>
                    </a:lnTo>
                    <a:lnTo>
                      <a:pt x="795822" y="2269264"/>
                    </a:lnTo>
                    <a:lnTo>
                      <a:pt x="361324" y="2437942"/>
                    </a:lnTo>
                    <a:lnTo>
                      <a:pt x="0" y="1507205"/>
                    </a:lnTo>
                    <a:close/>
                  </a:path>
                </a:pathLst>
              </a:custGeom>
              <a:blipFill>
                <a:blip r:embed="rId5">
                  <a:alphaModFix amt="1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8B674E9-2705-6841-1429-F9049B466130}"/>
                  </a:ext>
                </a:extLst>
              </p:cNvPr>
              <p:cNvSpPr/>
              <p:nvPr/>
            </p:nvSpPr>
            <p:spPr>
              <a:xfrm rot="-2543429">
                <a:off x="7110129" y="4101627"/>
                <a:ext cx="1573912" cy="1840427"/>
              </a:xfrm>
              <a:custGeom>
                <a:avLst/>
                <a:gdLst>
                  <a:gd name="connsiteX0" fmla="*/ 0 w 1573912"/>
                  <a:gd name="connsiteY0" fmla="*/ 1570269 h 1840427"/>
                  <a:gd name="connsiteX1" fmla="*/ 295960 w 1573912"/>
                  <a:gd name="connsiteY1" fmla="*/ 1840427 h 1840427"/>
                  <a:gd name="connsiteX2" fmla="*/ 0 w 1573912"/>
                  <a:gd name="connsiteY2" fmla="*/ 1840427 h 1840427"/>
                  <a:gd name="connsiteX3" fmla="*/ 1573912 w 1573912"/>
                  <a:gd name="connsiteY3" fmla="*/ 956326 h 1840427"/>
                  <a:gd name="connsiteX4" fmla="*/ 1573912 w 1573912"/>
                  <a:gd name="connsiteY4" fmla="*/ 1840427 h 1840427"/>
                  <a:gd name="connsiteX5" fmla="*/ 766886 w 1573912"/>
                  <a:gd name="connsiteY5" fmla="*/ 1840427 h 1840427"/>
                  <a:gd name="connsiteX6" fmla="*/ 1165805 w 1573912"/>
                  <a:gd name="connsiteY6" fmla="*/ 0 h 1840427"/>
                  <a:gd name="connsiteX7" fmla="*/ 0 w 1573912"/>
                  <a:gd name="connsiteY7" fmla="*/ 1277145 h 1840427"/>
                  <a:gd name="connsiteX8" fmla="*/ 0 w 1573912"/>
                  <a:gd name="connsiteY8" fmla="*/ 0 h 1840427"/>
                  <a:gd name="connsiteX9" fmla="*/ 1573912 w 1573912"/>
                  <a:gd name="connsiteY9" fmla="*/ 0 h 1840427"/>
                  <a:gd name="connsiteX10" fmla="*/ 1573912 w 1573912"/>
                  <a:gd name="connsiteY10" fmla="*/ 358896 h 1840427"/>
                  <a:gd name="connsiteX11" fmla="*/ 1180739 w 1573912"/>
                  <a:gd name="connsiteY11" fmla="*/ 0 h 1840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3912" h="1840427">
                    <a:moveTo>
                      <a:pt x="0" y="1570269"/>
                    </a:moveTo>
                    <a:lnTo>
                      <a:pt x="295960" y="1840427"/>
                    </a:lnTo>
                    <a:lnTo>
                      <a:pt x="0" y="1840427"/>
                    </a:lnTo>
                    <a:close/>
                    <a:moveTo>
                      <a:pt x="1573912" y="956326"/>
                    </a:moveTo>
                    <a:lnTo>
                      <a:pt x="1573912" y="1840427"/>
                    </a:lnTo>
                    <a:lnTo>
                      <a:pt x="766886" y="1840427"/>
                    </a:lnTo>
                    <a:close/>
                    <a:moveTo>
                      <a:pt x="1165805" y="0"/>
                    </a:moveTo>
                    <a:lnTo>
                      <a:pt x="0" y="1277145"/>
                    </a:lnTo>
                    <a:lnTo>
                      <a:pt x="0" y="0"/>
                    </a:lnTo>
                    <a:close/>
                    <a:moveTo>
                      <a:pt x="1573912" y="0"/>
                    </a:moveTo>
                    <a:lnTo>
                      <a:pt x="1573912" y="358896"/>
                    </a:lnTo>
                    <a:lnTo>
                      <a:pt x="1180739" y="0"/>
                    </a:lnTo>
                    <a:close/>
                  </a:path>
                </a:pathLst>
              </a:custGeom>
              <a:blipFill>
                <a:blip r:embed="rId7">
                  <a:alphaModFix amt="19999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" name="Freeform 5"/>
              <p:cNvSpPr/>
              <p:nvPr/>
            </p:nvSpPr>
            <p:spPr>
              <a:xfrm rot="-5399999" flipH="1">
                <a:off x="6852654" y="5803014"/>
                <a:ext cx="746382" cy="661313"/>
              </a:xfrm>
              <a:custGeom>
                <a:avLst/>
                <a:gdLst/>
                <a:ahLst/>
                <a:cxnLst/>
                <a:rect l="l" t="t" r="r" b="b"/>
                <a:pathLst>
                  <a:path w="746382" h="1683083">
                    <a:moveTo>
                      <a:pt x="746382" y="0"/>
                    </a:moveTo>
                    <a:lnTo>
                      <a:pt x="0" y="0"/>
                    </a:lnTo>
                    <a:lnTo>
                      <a:pt x="0" y="1683082"/>
                    </a:lnTo>
                    <a:lnTo>
                      <a:pt x="746382" y="1683082"/>
                    </a:lnTo>
                    <a:lnTo>
                      <a:pt x="746382" y="0"/>
                    </a:lnTo>
                    <a:close/>
                  </a:path>
                </a:pathLst>
              </a:custGeom>
              <a:blipFill>
                <a:blip r:embed="rId9">
                  <a:alphaModFix amt="19999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b="-154506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CFAC111C-0494-7501-A715-616BD78667BD}"/>
                  </a:ext>
                </a:extLst>
              </p:cNvPr>
              <p:cNvSpPr/>
              <p:nvPr/>
            </p:nvSpPr>
            <p:spPr>
              <a:xfrm flipH="1">
                <a:off x="6573920" y="8537635"/>
                <a:ext cx="2524773" cy="2155765"/>
              </a:xfrm>
              <a:custGeom>
                <a:avLst/>
                <a:gdLst>
                  <a:gd name="connsiteX0" fmla="*/ 2524773 w 2524773"/>
                  <a:gd name="connsiteY0" fmla="*/ 0 h 3344071"/>
                  <a:gd name="connsiteX1" fmla="*/ 0 w 2524773"/>
                  <a:gd name="connsiteY1" fmla="*/ 0 h 3344071"/>
                  <a:gd name="connsiteX2" fmla="*/ 0 w 2524773"/>
                  <a:gd name="connsiteY2" fmla="*/ 605749 h 3344071"/>
                  <a:gd name="connsiteX3" fmla="*/ 1542195 w 2524773"/>
                  <a:gd name="connsiteY3" fmla="*/ 605749 h 3344071"/>
                  <a:gd name="connsiteX4" fmla="*/ 1542195 w 2524773"/>
                  <a:gd name="connsiteY4" fmla="*/ 3344071 h 3344071"/>
                  <a:gd name="connsiteX5" fmla="*/ 2524773 w 2524773"/>
                  <a:gd name="connsiteY5" fmla="*/ 3344071 h 3344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24773" h="3344071">
                    <a:moveTo>
                      <a:pt x="2524773" y="0"/>
                    </a:moveTo>
                    <a:lnTo>
                      <a:pt x="0" y="0"/>
                    </a:lnTo>
                    <a:lnTo>
                      <a:pt x="0" y="605749"/>
                    </a:lnTo>
                    <a:lnTo>
                      <a:pt x="1542195" y="605749"/>
                    </a:lnTo>
                    <a:lnTo>
                      <a:pt x="1542195" y="3344071"/>
                    </a:lnTo>
                    <a:lnTo>
                      <a:pt x="2524773" y="3344071"/>
                    </a:lnTo>
                    <a:close/>
                  </a:path>
                </a:pathLst>
              </a:custGeom>
              <a:blipFill>
                <a:blip r:embed="rId11">
                  <a:alphaModFix amt="19999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b="-55122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DE5B8F27-93B4-551A-BF56-D076ABF35E24}"/>
                  </a:ext>
                </a:extLst>
              </p:cNvPr>
              <p:cNvSpPr/>
              <p:nvPr/>
            </p:nvSpPr>
            <p:spPr>
              <a:xfrm rot="640930" flipH="1">
                <a:off x="-2344631" y="1738672"/>
                <a:ext cx="3093479" cy="3909610"/>
              </a:xfrm>
              <a:custGeom>
                <a:avLst/>
                <a:gdLst>
                  <a:gd name="connsiteX0" fmla="*/ 3093479 w 3093479"/>
                  <a:gd name="connsiteY0" fmla="*/ 2180970 h 3909610"/>
                  <a:gd name="connsiteX1" fmla="*/ 2767406 w 3093479"/>
                  <a:gd name="connsiteY1" fmla="*/ 3909610 h 3909610"/>
                  <a:gd name="connsiteX2" fmla="*/ 3093479 w 3093479"/>
                  <a:gd name="connsiteY2" fmla="*/ 3909610 h 3909610"/>
                  <a:gd name="connsiteX3" fmla="*/ 1106894 w 3093479"/>
                  <a:gd name="connsiteY3" fmla="*/ 0 h 3909610"/>
                  <a:gd name="connsiteX4" fmla="*/ 0 w 3093479"/>
                  <a:gd name="connsiteY4" fmla="*/ 0 h 3909610"/>
                  <a:gd name="connsiteX5" fmla="*/ 0 w 3093479"/>
                  <a:gd name="connsiteY5" fmla="*/ 3909610 h 3909610"/>
                  <a:gd name="connsiteX6" fmla="*/ 935533 w 3093479"/>
                  <a:gd name="connsiteY6" fmla="*/ 3909610 h 3909610"/>
                  <a:gd name="connsiteX7" fmla="*/ 388876 w 3093479"/>
                  <a:gd name="connsiteY7" fmla="*/ 3806494 h 3909610"/>
                  <a:gd name="connsiteX8" fmla="*/ 3093479 w 3093479"/>
                  <a:gd name="connsiteY8" fmla="*/ 0 h 3909610"/>
                  <a:gd name="connsiteX9" fmla="*/ 2107126 w 3093479"/>
                  <a:gd name="connsiteY9" fmla="*/ 0 h 3909610"/>
                  <a:gd name="connsiteX10" fmla="*/ 3093479 w 3093479"/>
                  <a:gd name="connsiteY10" fmla="*/ 186055 h 390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3479" h="3909610">
                    <a:moveTo>
                      <a:pt x="3093479" y="2180970"/>
                    </a:moveTo>
                    <a:lnTo>
                      <a:pt x="2767406" y="3909610"/>
                    </a:lnTo>
                    <a:lnTo>
                      <a:pt x="3093479" y="3909610"/>
                    </a:lnTo>
                    <a:close/>
                    <a:moveTo>
                      <a:pt x="1106894" y="0"/>
                    </a:moveTo>
                    <a:lnTo>
                      <a:pt x="0" y="0"/>
                    </a:lnTo>
                    <a:lnTo>
                      <a:pt x="0" y="3909610"/>
                    </a:lnTo>
                    <a:lnTo>
                      <a:pt x="935533" y="3909610"/>
                    </a:lnTo>
                    <a:lnTo>
                      <a:pt x="388876" y="3806494"/>
                    </a:lnTo>
                    <a:close/>
                    <a:moveTo>
                      <a:pt x="3093479" y="0"/>
                    </a:moveTo>
                    <a:lnTo>
                      <a:pt x="2107126" y="0"/>
                    </a:lnTo>
                    <a:lnTo>
                      <a:pt x="3093479" y="186055"/>
                    </a:lnTo>
                    <a:close/>
                  </a:path>
                </a:pathLst>
              </a:custGeom>
              <a:blipFill>
                <a:blip r:embed="rId13">
                  <a:alphaModFix amt="19999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" name="Freeform 8"/>
              <p:cNvSpPr/>
              <p:nvPr/>
            </p:nvSpPr>
            <p:spPr>
              <a:xfrm flipH="1">
                <a:off x="6369950" y="349963"/>
                <a:ext cx="1186550" cy="4292020"/>
              </a:xfrm>
              <a:custGeom>
                <a:avLst/>
                <a:gdLst/>
                <a:ahLst/>
                <a:cxnLst/>
                <a:rect l="l" t="t" r="r" b="b"/>
                <a:pathLst>
                  <a:path w="3396061" h="4292020">
                    <a:moveTo>
                      <a:pt x="3396062" y="0"/>
                    </a:moveTo>
                    <a:lnTo>
                      <a:pt x="0" y="0"/>
                    </a:lnTo>
                    <a:lnTo>
                      <a:pt x="0" y="4292020"/>
                    </a:lnTo>
                    <a:lnTo>
                      <a:pt x="3396062" y="4292020"/>
                    </a:lnTo>
                    <a:lnTo>
                      <a:pt x="3396062" y="0"/>
                    </a:lnTo>
                    <a:close/>
                  </a:path>
                </a:pathLst>
              </a:custGeom>
              <a:blipFill>
                <a:blip r:embed="rId13">
                  <a:alphaModFix amt="19999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l="-186213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-1" y="6506861"/>
                <a:ext cx="1368689" cy="4186539"/>
              </a:xfrm>
              <a:custGeom>
                <a:avLst/>
                <a:gdLst/>
                <a:ahLst/>
                <a:cxnLst/>
                <a:rect l="l" t="t" r="r" b="b"/>
                <a:pathLst>
                  <a:path w="3396061" h="4292020">
                    <a:moveTo>
                      <a:pt x="0" y="0"/>
                    </a:moveTo>
                    <a:lnTo>
                      <a:pt x="3396061" y="0"/>
                    </a:lnTo>
                    <a:lnTo>
                      <a:pt x="3396061" y="4292020"/>
                    </a:lnTo>
                    <a:lnTo>
                      <a:pt x="0" y="429202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19999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l="-148124" r="-1" b="-2520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384EAD3-35CB-4019-8AFB-C4086174CCEC}"/>
                  </a:ext>
                </a:extLst>
              </p:cNvPr>
              <p:cNvSpPr/>
              <p:nvPr/>
            </p:nvSpPr>
            <p:spPr>
              <a:xfrm rot="-3163311">
                <a:off x="7285922" y="6662534"/>
                <a:ext cx="1160363" cy="2482059"/>
              </a:xfrm>
              <a:custGeom>
                <a:avLst/>
                <a:gdLst>
                  <a:gd name="connsiteX0" fmla="*/ 0 w 1160363"/>
                  <a:gd name="connsiteY0" fmla="*/ 2191122 h 2482059"/>
                  <a:gd name="connsiteX1" fmla="*/ 221459 w 1160363"/>
                  <a:gd name="connsiteY1" fmla="*/ 2482059 h 2482059"/>
                  <a:gd name="connsiteX2" fmla="*/ 0 w 1160363"/>
                  <a:gd name="connsiteY2" fmla="*/ 2482059 h 2482059"/>
                  <a:gd name="connsiteX3" fmla="*/ 1160363 w 1160363"/>
                  <a:gd name="connsiteY3" fmla="*/ 2078199 h 2482059"/>
                  <a:gd name="connsiteX4" fmla="*/ 1160363 w 1160363"/>
                  <a:gd name="connsiteY4" fmla="*/ 2482059 h 2482059"/>
                  <a:gd name="connsiteX5" fmla="*/ 629802 w 1160363"/>
                  <a:gd name="connsiteY5" fmla="*/ 2482059 h 2482059"/>
                  <a:gd name="connsiteX6" fmla="*/ 1160363 w 1160363"/>
                  <a:gd name="connsiteY6" fmla="*/ 0 h 2482059"/>
                  <a:gd name="connsiteX7" fmla="*/ 1160363 w 1160363"/>
                  <a:gd name="connsiteY7" fmla="*/ 423757 h 2482059"/>
                  <a:gd name="connsiteX8" fmla="*/ 1153881 w 1160363"/>
                  <a:gd name="connsiteY8" fmla="*/ 415240 h 2482059"/>
                  <a:gd name="connsiteX9" fmla="*/ 0 w 1160363"/>
                  <a:gd name="connsiteY9" fmla="*/ 1293566 h 2482059"/>
                  <a:gd name="connsiteX10" fmla="*/ 0 w 1160363"/>
                  <a:gd name="connsiteY10" fmla="*/ 0 h 248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0363" h="2482059">
                    <a:moveTo>
                      <a:pt x="0" y="2191122"/>
                    </a:moveTo>
                    <a:lnTo>
                      <a:pt x="221459" y="2482059"/>
                    </a:lnTo>
                    <a:lnTo>
                      <a:pt x="0" y="2482059"/>
                    </a:lnTo>
                    <a:close/>
                    <a:moveTo>
                      <a:pt x="1160363" y="2078199"/>
                    </a:moveTo>
                    <a:lnTo>
                      <a:pt x="1160363" y="2482059"/>
                    </a:lnTo>
                    <a:lnTo>
                      <a:pt x="629802" y="2482059"/>
                    </a:lnTo>
                    <a:close/>
                    <a:moveTo>
                      <a:pt x="1160363" y="0"/>
                    </a:moveTo>
                    <a:lnTo>
                      <a:pt x="1160363" y="423757"/>
                    </a:lnTo>
                    <a:lnTo>
                      <a:pt x="1153881" y="415240"/>
                    </a:lnTo>
                    <a:lnTo>
                      <a:pt x="0" y="12935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alphaModFix amt="19999"/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887F924-F85A-C758-9739-4389A47DC258}"/>
                  </a:ext>
                </a:extLst>
              </p:cNvPr>
              <p:cNvSpPr/>
              <p:nvPr/>
            </p:nvSpPr>
            <p:spPr>
              <a:xfrm rot="-1936916">
                <a:off x="5739694" y="9607516"/>
                <a:ext cx="1003764" cy="1902870"/>
              </a:xfrm>
              <a:custGeom>
                <a:avLst/>
                <a:gdLst>
                  <a:gd name="connsiteX0" fmla="*/ 0 w 1003764"/>
                  <a:gd name="connsiteY0" fmla="*/ 1679705 h 1902870"/>
                  <a:gd name="connsiteX1" fmla="*/ 353258 w 1003764"/>
                  <a:gd name="connsiteY1" fmla="*/ 1902870 h 1902870"/>
                  <a:gd name="connsiteX2" fmla="*/ 0 w 1003764"/>
                  <a:gd name="connsiteY2" fmla="*/ 1902870 h 1902870"/>
                  <a:gd name="connsiteX3" fmla="*/ 1003764 w 1003764"/>
                  <a:gd name="connsiteY3" fmla="*/ 0 h 1902870"/>
                  <a:gd name="connsiteX4" fmla="*/ 1003764 w 1003764"/>
                  <a:gd name="connsiteY4" fmla="*/ 1902870 h 1902870"/>
                  <a:gd name="connsiteX5" fmla="*/ 592398 w 1003764"/>
                  <a:gd name="connsiteY5" fmla="*/ 1902870 h 1902870"/>
                  <a:gd name="connsiteX6" fmla="*/ 924374 w 1003764"/>
                  <a:gd name="connsiteY6" fmla="*/ 1377369 h 1902870"/>
                  <a:gd name="connsiteX7" fmla="*/ 0 w 1003764"/>
                  <a:gd name="connsiteY7" fmla="*/ 793411 h 1902870"/>
                  <a:gd name="connsiteX8" fmla="*/ 0 w 1003764"/>
                  <a:gd name="connsiteY8" fmla="*/ 0 h 19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3764" h="1902870">
                    <a:moveTo>
                      <a:pt x="0" y="1679705"/>
                    </a:moveTo>
                    <a:lnTo>
                      <a:pt x="353258" y="1902870"/>
                    </a:lnTo>
                    <a:lnTo>
                      <a:pt x="0" y="1902870"/>
                    </a:lnTo>
                    <a:close/>
                    <a:moveTo>
                      <a:pt x="1003764" y="0"/>
                    </a:moveTo>
                    <a:lnTo>
                      <a:pt x="1003764" y="1902870"/>
                    </a:lnTo>
                    <a:lnTo>
                      <a:pt x="592398" y="1902870"/>
                    </a:lnTo>
                    <a:lnTo>
                      <a:pt x="924374" y="1377369"/>
                    </a:lnTo>
                    <a:lnTo>
                      <a:pt x="0" y="79341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alphaModFix amt="19999"/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C8041497-C908-1A52-BF24-E4C72B4B9A72}"/>
                  </a:ext>
                </a:extLst>
              </p:cNvPr>
              <p:cNvSpPr/>
              <p:nvPr/>
            </p:nvSpPr>
            <p:spPr>
              <a:xfrm rot="1937999" flipH="1">
                <a:off x="830807" y="9607516"/>
                <a:ext cx="1003764" cy="1902870"/>
              </a:xfrm>
              <a:custGeom>
                <a:avLst/>
                <a:gdLst>
                  <a:gd name="connsiteX0" fmla="*/ 424280 w 1003764"/>
                  <a:gd name="connsiteY0" fmla="*/ 1902870 h 1902870"/>
                  <a:gd name="connsiteX1" fmla="*/ 0 w 1003764"/>
                  <a:gd name="connsiteY1" fmla="*/ 1634652 h 1902870"/>
                  <a:gd name="connsiteX2" fmla="*/ 0 w 1003764"/>
                  <a:gd name="connsiteY2" fmla="*/ 1902870 h 1902870"/>
                  <a:gd name="connsiteX3" fmla="*/ 1003764 w 1003764"/>
                  <a:gd name="connsiteY3" fmla="*/ 0 h 1902870"/>
                  <a:gd name="connsiteX4" fmla="*/ 0 w 1003764"/>
                  <a:gd name="connsiteY4" fmla="*/ 0 h 1902870"/>
                  <a:gd name="connsiteX5" fmla="*/ 0 w 1003764"/>
                  <a:gd name="connsiteY5" fmla="*/ 793219 h 1902870"/>
                  <a:gd name="connsiteX6" fmla="*/ 935673 w 1003764"/>
                  <a:gd name="connsiteY6" fmla="*/ 1384727 h 1902870"/>
                  <a:gd name="connsiteX7" fmla="*/ 608117 w 1003764"/>
                  <a:gd name="connsiteY7" fmla="*/ 1902870 h 1902870"/>
                  <a:gd name="connsiteX8" fmla="*/ 1003764 w 1003764"/>
                  <a:gd name="connsiteY8" fmla="*/ 1902870 h 190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3764" h="1902870">
                    <a:moveTo>
                      <a:pt x="424280" y="1902870"/>
                    </a:moveTo>
                    <a:lnTo>
                      <a:pt x="0" y="1634652"/>
                    </a:lnTo>
                    <a:lnTo>
                      <a:pt x="0" y="1902870"/>
                    </a:lnTo>
                    <a:close/>
                    <a:moveTo>
                      <a:pt x="1003764" y="0"/>
                    </a:moveTo>
                    <a:lnTo>
                      <a:pt x="0" y="0"/>
                    </a:lnTo>
                    <a:lnTo>
                      <a:pt x="0" y="793219"/>
                    </a:lnTo>
                    <a:lnTo>
                      <a:pt x="935673" y="1384727"/>
                    </a:lnTo>
                    <a:lnTo>
                      <a:pt x="608117" y="1902870"/>
                    </a:lnTo>
                    <a:lnTo>
                      <a:pt x="1003764" y="1902870"/>
                    </a:lnTo>
                    <a:close/>
                  </a:path>
                </a:pathLst>
              </a:custGeom>
              <a:blipFill>
                <a:blip r:embed="rId17">
                  <a:alphaModFix amt="19999"/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1404689" y="-7904"/>
                <a:ext cx="2422790" cy="614476"/>
              </a:xfrm>
              <a:custGeom>
                <a:avLst/>
                <a:gdLst/>
                <a:ahLst/>
                <a:cxnLst/>
                <a:rect l="l" t="t" r="r" b="b"/>
                <a:pathLst>
                  <a:path w="2422790" h="2286508">
                    <a:moveTo>
                      <a:pt x="0" y="0"/>
                    </a:moveTo>
                    <a:lnTo>
                      <a:pt x="2422790" y="0"/>
                    </a:lnTo>
                    <a:lnTo>
                      <a:pt x="2422790" y="2286508"/>
                    </a:lnTo>
                    <a:lnTo>
                      <a:pt x="0" y="228650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9">
                  <a:alphaModFix amt="19999"/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 t="-272106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731993A6-5773-AE2E-D825-65E3F9A8547F}"/>
                  </a:ext>
                </a:extLst>
              </p:cNvPr>
              <p:cNvSpPr/>
              <p:nvPr/>
            </p:nvSpPr>
            <p:spPr>
              <a:xfrm rot="1568253" flipH="1">
                <a:off x="1729725" y="9834966"/>
                <a:ext cx="3096359" cy="4754485"/>
              </a:xfrm>
              <a:custGeom>
                <a:avLst/>
                <a:gdLst>
                  <a:gd name="connsiteX0" fmla="*/ 1393481 w 3096359"/>
                  <a:gd name="connsiteY0" fmla="*/ 4754485 h 4754485"/>
                  <a:gd name="connsiteX1" fmla="*/ 0 w 3096359"/>
                  <a:gd name="connsiteY1" fmla="*/ 4070693 h 4754485"/>
                  <a:gd name="connsiteX2" fmla="*/ 0 w 3096359"/>
                  <a:gd name="connsiteY2" fmla="*/ 4754485 h 4754485"/>
                  <a:gd name="connsiteX3" fmla="*/ 3096359 w 3096359"/>
                  <a:gd name="connsiteY3" fmla="*/ 2237847 h 4754485"/>
                  <a:gd name="connsiteX4" fmla="*/ 1861425 w 3096359"/>
                  <a:gd name="connsiteY4" fmla="*/ 4754485 h 4754485"/>
                  <a:gd name="connsiteX5" fmla="*/ 3096359 w 3096359"/>
                  <a:gd name="connsiteY5" fmla="*/ 4754485 h 4754485"/>
                  <a:gd name="connsiteX6" fmla="*/ 3096359 w 3096359"/>
                  <a:gd name="connsiteY6" fmla="*/ 0 h 4754485"/>
                  <a:gd name="connsiteX7" fmla="*/ 0 w 3096359"/>
                  <a:gd name="connsiteY7" fmla="*/ 0 h 4754485"/>
                  <a:gd name="connsiteX8" fmla="*/ 0 w 3096359"/>
                  <a:gd name="connsiteY8" fmla="*/ 1162688 h 4754485"/>
                  <a:gd name="connsiteX9" fmla="*/ 489193 w 3096359"/>
                  <a:gd name="connsiteY9" fmla="*/ 165775 h 4754485"/>
                  <a:gd name="connsiteX10" fmla="*/ 3096359 w 3096359"/>
                  <a:gd name="connsiteY10" fmla="*/ 1445132 h 475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96359" h="4754485">
                    <a:moveTo>
                      <a:pt x="1393481" y="4754485"/>
                    </a:moveTo>
                    <a:lnTo>
                      <a:pt x="0" y="4070693"/>
                    </a:lnTo>
                    <a:lnTo>
                      <a:pt x="0" y="4754485"/>
                    </a:lnTo>
                    <a:close/>
                    <a:moveTo>
                      <a:pt x="3096359" y="2237847"/>
                    </a:moveTo>
                    <a:lnTo>
                      <a:pt x="1861425" y="4754485"/>
                    </a:lnTo>
                    <a:lnTo>
                      <a:pt x="3096359" y="4754485"/>
                    </a:lnTo>
                    <a:close/>
                    <a:moveTo>
                      <a:pt x="3096359" y="0"/>
                    </a:moveTo>
                    <a:lnTo>
                      <a:pt x="0" y="0"/>
                    </a:lnTo>
                    <a:lnTo>
                      <a:pt x="0" y="1162688"/>
                    </a:lnTo>
                    <a:lnTo>
                      <a:pt x="489193" y="165775"/>
                    </a:lnTo>
                    <a:lnTo>
                      <a:pt x="3096359" y="1445132"/>
                    </a:lnTo>
                    <a:close/>
                  </a:path>
                </a:pathLst>
              </a:custGeom>
              <a:blipFill>
                <a:blip r:embed="rId21">
                  <a:alphaModFix amt="19999"/>
                  <a:extLst>
                    <a:ext uri="{96DAC541-7B7A-43D3-8B79-37D633B846F1}">
                      <asvg:svgBlip xmlns:asvg="http://schemas.microsoft.com/office/drawing/2016/SVG/main" r:embed="rId22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A16149F8-2E21-2F57-E30A-8CD905AE3477}"/>
                  </a:ext>
                </a:extLst>
              </p:cNvPr>
              <p:cNvSpPr/>
              <p:nvPr/>
            </p:nvSpPr>
            <p:spPr>
              <a:xfrm rot="5617849">
                <a:off x="-625028" y="4597514"/>
                <a:ext cx="928079" cy="1749148"/>
              </a:xfrm>
              <a:custGeom>
                <a:avLst/>
                <a:gdLst>
                  <a:gd name="connsiteX0" fmla="*/ 0 w 928079"/>
                  <a:gd name="connsiteY0" fmla="*/ 746038 h 1749148"/>
                  <a:gd name="connsiteX1" fmla="*/ 0 w 928079"/>
                  <a:gd name="connsiteY1" fmla="*/ 0 h 1749148"/>
                  <a:gd name="connsiteX2" fmla="*/ 928079 w 928079"/>
                  <a:gd name="connsiteY2" fmla="*/ 0 h 1749148"/>
                  <a:gd name="connsiteX3" fmla="*/ 928079 w 928079"/>
                  <a:gd name="connsiteY3" fmla="*/ 1749148 h 1749148"/>
                  <a:gd name="connsiteX4" fmla="*/ 616558 w 928079"/>
                  <a:gd name="connsiteY4" fmla="*/ 1749148 h 1749148"/>
                  <a:gd name="connsiteX5" fmla="*/ 550688 w 928079"/>
                  <a:gd name="connsiteY5" fmla="*/ 711095 h 174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8079" h="1749148">
                    <a:moveTo>
                      <a:pt x="0" y="746038"/>
                    </a:moveTo>
                    <a:lnTo>
                      <a:pt x="0" y="0"/>
                    </a:lnTo>
                    <a:lnTo>
                      <a:pt x="928079" y="0"/>
                    </a:lnTo>
                    <a:lnTo>
                      <a:pt x="928079" y="1749148"/>
                    </a:lnTo>
                    <a:lnTo>
                      <a:pt x="616558" y="1749148"/>
                    </a:lnTo>
                    <a:lnTo>
                      <a:pt x="550688" y="711095"/>
                    </a:lnTo>
                    <a:close/>
                  </a:path>
                </a:pathLst>
              </a:custGeom>
              <a:blipFill>
                <a:blip r:embed="rId23">
                  <a:alphaModFix amt="19999"/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 flipV="1">
                <a:off x="-4870" y="-7904"/>
                <a:ext cx="1428894" cy="2286509"/>
              </a:xfrm>
              <a:custGeom>
                <a:avLst/>
                <a:gdLst/>
                <a:ahLst/>
                <a:cxnLst/>
                <a:rect l="l" t="t" r="r" b="b"/>
                <a:pathLst>
                  <a:path w="2524773" h="3344071">
                    <a:moveTo>
                      <a:pt x="0" y="3344071"/>
                    </a:moveTo>
                    <a:lnTo>
                      <a:pt x="2524773" y="3344071"/>
                    </a:lnTo>
                    <a:lnTo>
                      <a:pt x="2524773" y="0"/>
                    </a:lnTo>
                    <a:lnTo>
                      <a:pt x="0" y="0"/>
                    </a:lnTo>
                    <a:lnTo>
                      <a:pt x="0" y="3344071"/>
                    </a:lnTo>
                    <a:close/>
                  </a:path>
                </a:pathLst>
              </a:custGeom>
              <a:blipFill>
                <a:blip r:embed="rId11">
                  <a:alphaModFix amt="19999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-76694" b="-46252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3E55192-7C3D-1151-C461-6CF36D91913F}"/>
                </a:ext>
              </a:extLst>
            </p:cNvPr>
            <p:cNvGrpSpPr/>
            <p:nvPr/>
          </p:nvGrpSpPr>
          <p:grpSpPr>
            <a:xfrm>
              <a:off x="1422274" y="8560376"/>
              <a:ext cx="4711951" cy="749392"/>
              <a:chOff x="1422274" y="8560376"/>
              <a:chExt cx="4711951" cy="749392"/>
            </a:xfrm>
          </p:grpSpPr>
          <p:sp>
            <p:nvSpPr>
              <p:cNvPr id="26" name="TextBox 26"/>
              <p:cNvSpPr txBox="1"/>
              <p:nvPr/>
            </p:nvSpPr>
            <p:spPr>
              <a:xfrm>
                <a:off x="1422274" y="8940674"/>
                <a:ext cx="4711951" cy="36909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439"/>
                  </a:lnSpc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Thank you for being here today. Special thanks </a:t>
                </a:r>
              </a:p>
              <a:p>
                <a:pPr marL="0" lvl="0" indent="0" algn="ctr">
                  <a:lnSpc>
                    <a:spcPts val="1439"/>
                  </a:lnSpc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to our parents for their love and support.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2432847" y="8560376"/>
                <a:ext cx="2690805" cy="2627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239"/>
                  </a:lnSpc>
                  <a:spcBef>
                    <a:spcPct val="0"/>
                  </a:spcBef>
                </a:pPr>
                <a:r>
                  <a:rPr lang="en-US" sz="1599" u="none" strike="noStrike" spc="79" dirty="0">
                    <a:solidFill>
                      <a:srgbClr val="FFFFFF"/>
                    </a:solidFill>
                    <a:latin typeface="Playfair Display SemiBold" pitchFamily="2" charset="0"/>
                  </a:rPr>
                  <a:t>THANK YOU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7D42E2D-BC7F-9E46-77C0-7489F6F08B8B}"/>
                </a:ext>
              </a:extLst>
            </p:cNvPr>
            <p:cNvGrpSpPr/>
            <p:nvPr/>
          </p:nvGrpSpPr>
          <p:grpSpPr>
            <a:xfrm>
              <a:off x="2002091" y="5546087"/>
              <a:ext cx="3552316" cy="2302295"/>
              <a:chOff x="2002091" y="5546087"/>
              <a:chExt cx="3552316" cy="2302295"/>
            </a:xfrm>
          </p:grpSpPr>
          <p:sp>
            <p:nvSpPr>
              <p:cNvPr id="18" name="TextBox 18"/>
              <p:cNvSpPr txBox="1"/>
              <p:nvPr/>
            </p:nvSpPr>
            <p:spPr>
              <a:xfrm>
                <a:off x="2002091" y="5881674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Ceremony Begins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2002091" y="6173041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Ketubah Signing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2002091" y="6464408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Chuppah Ceremony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2002091" y="6755775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Yichud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2002091" y="7047142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Reception</a:t>
                </a:r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2002091" y="7338509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Hora Dance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2002091" y="7629878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Conclusion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2149034" y="5546087"/>
                <a:ext cx="3258430" cy="2627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239"/>
                  </a:lnSpc>
                  <a:spcBef>
                    <a:spcPct val="0"/>
                  </a:spcBef>
                </a:pPr>
                <a:r>
                  <a:rPr lang="en-US" sz="1599" u="none" strike="noStrike" spc="79" dirty="0">
                    <a:solidFill>
                      <a:srgbClr val="FFFFFF"/>
                    </a:solidFill>
                    <a:latin typeface="Playfair Display SemiBold" pitchFamily="2" charset="0"/>
                  </a:rPr>
                  <a:t> PROGRAM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3072990-ABE3-8107-DF71-0EF94908AC4F}"/>
                </a:ext>
              </a:extLst>
            </p:cNvPr>
            <p:cNvGrpSpPr/>
            <p:nvPr/>
          </p:nvGrpSpPr>
          <p:grpSpPr>
            <a:xfrm>
              <a:off x="1281187" y="4076720"/>
              <a:ext cx="4994125" cy="742177"/>
              <a:chOff x="1281187" y="4076720"/>
              <a:chExt cx="4994125" cy="742177"/>
            </a:xfrm>
          </p:grpSpPr>
          <p:sp>
            <p:nvSpPr>
              <p:cNvPr id="29" name="TextBox 29"/>
              <p:cNvSpPr txBox="1"/>
              <p:nvPr/>
            </p:nvSpPr>
            <p:spPr>
              <a:xfrm>
                <a:off x="1281187" y="4593322"/>
                <a:ext cx="4994125" cy="2255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932"/>
                  </a:lnSpc>
                  <a:spcBef>
                    <a:spcPct val="0"/>
                  </a:spcBef>
                </a:pPr>
                <a:r>
                  <a:rPr lang="en-US" sz="1200" u="none" strike="noStrike" spc="87" dirty="0">
                    <a:solidFill>
                      <a:srgbClr val="FFFFFF"/>
                    </a:solidFill>
                    <a:latin typeface="Ovo"/>
                  </a:rPr>
                  <a:t>Temple Beth Shalom at 1 Main Street Cityville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2379193" y="4076720"/>
                <a:ext cx="2798112" cy="25693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239"/>
                  </a:lnSpc>
                  <a:spcBef>
                    <a:spcPct val="0"/>
                  </a:spcBef>
                </a:pPr>
                <a:r>
                  <a:rPr lang="en-US" sz="1599" u="none" strike="noStrike" spc="79" dirty="0">
                    <a:solidFill>
                      <a:srgbClr val="FFFFFF"/>
                    </a:solidFill>
                    <a:latin typeface="Playfair Display SemiBold" pitchFamily="2" charset="0"/>
                  </a:rPr>
                  <a:t>DATE &amp; LOCATION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2002092" y="4411298"/>
                <a:ext cx="3552316" cy="2185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32"/>
                  </a:lnSpc>
                </a:pPr>
                <a:r>
                  <a:rPr lang="en-US" sz="1200" spc="87" dirty="0">
                    <a:solidFill>
                      <a:srgbClr val="FFFFFF"/>
                    </a:solidFill>
                    <a:latin typeface="Ovo"/>
                  </a:rPr>
                  <a:t>3PM - Sunday, November 12, 2024</a:t>
                </a:r>
              </a:p>
            </p:txBody>
          </p:sp>
        </p:grpSp>
        <p:sp>
          <p:nvSpPr>
            <p:cNvPr id="28" name="Freeform 28"/>
            <p:cNvSpPr/>
            <p:nvPr/>
          </p:nvSpPr>
          <p:spPr>
            <a:xfrm>
              <a:off x="3634661" y="3411299"/>
              <a:ext cx="287178" cy="331824"/>
            </a:xfrm>
            <a:custGeom>
              <a:avLst/>
              <a:gdLst/>
              <a:ahLst/>
              <a:cxnLst/>
              <a:rect l="l" t="t" r="r" b="b"/>
              <a:pathLst>
                <a:path w="382904" h="442432">
                  <a:moveTo>
                    <a:pt x="0" y="0"/>
                  </a:moveTo>
                  <a:lnTo>
                    <a:pt x="382904" y="0"/>
                  </a:lnTo>
                  <a:lnTo>
                    <a:pt x="382904" y="442432"/>
                  </a:lnTo>
                  <a:lnTo>
                    <a:pt x="0" y="4424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E63E7E7-C520-0960-7C04-947D6AB7EDD2}"/>
                </a:ext>
              </a:extLst>
            </p:cNvPr>
            <p:cNvGrpSpPr/>
            <p:nvPr/>
          </p:nvGrpSpPr>
          <p:grpSpPr>
            <a:xfrm>
              <a:off x="2321243" y="1360801"/>
              <a:ext cx="2914014" cy="1875650"/>
              <a:chOff x="2321243" y="1360801"/>
              <a:chExt cx="2914014" cy="1875650"/>
            </a:xfrm>
          </p:grpSpPr>
          <p:sp>
            <p:nvSpPr>
              <p:cNvPr id="32" name="TextBox 32"/>
              <p:cNvSpPr txBox="1"/>
              <p:nvPr/>
            </p:nvSpPr>
            <p:spPr>
              <a:xfrm>
                <a:off x="2508808" y="1360801"/>
                <a:ext cx="2538884" cy="1683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52"/>
                  </a:lnSpc>
                  <a:spcBef>
                    <a:spcPct val="0"/>
                  </a:spcBef>
                </a:pPr>
                <a:r>
                  <a:rPr lang="en-US" sz="950" spc="171" dirty="0">
                    <a:solidFill>
                      <a:srgbClr val="FFFFFF"/>
                    </a:solidFill>
                    <a:latin typeface="Ovo"/>
                  </a:rPr>
                  <a:t>JEWISH WEDDING CEREMONY</a:t>
                </a:r>
              </a:p>
            </p:txBody>
          </p:sp>
          <p:sp>
            <p:nvSpPr>
              <p:cNvPr id="33" name="TextBox 33"/>
              <p:cNvSpPr txBox="1"/>
              <p:nvPr/>
            </p:nvSpPr>
            <p:spPr>
              <a:xfrm>
                <a:off x="2321243" y="1668674"/>
                <a:ext cx="2914014" cy="7694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5975"/>
                  </a:lnSpc>
                  <a:spcBef>
                    <a:spcPct val="0"/>
                  </a:spcBef>
                </a:pPr>
                <a:r>
                  <a:rPr lang="en-US" sz="4250" spc="85" dirty="0">
                    <a:solidFill>
                      <a:srgbClr val="FFFFFF"/>
                    </a:solidFill>
                    <a:latin typeface="Pinyon Script"/>
                  </a:rPr>
                  <a:t>Rachel Cohen</a:t>
                </a:r>
              </a:p>
            </p:txBody>
          </p:sp>
          <p:sp>
            <p:nvSpPr>
              <p:cNvPr id="34" name="TextBox 34"/>
              <p:cNvSpPr txBox="1"/>
              <p:nvPr/>
            </p:nvSpPr>
            <p:spPr>
              <a:xfrm>
                <a:off x="2508808" y="2467010"/>
                <a:ext cx="2538884" cy="7694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5975"/>
                  </a:lnSpc>
                  <a:spcBef>
                    <a:spcPct val="0"/>
                  </a:spcBef>
                </a:pPr>
                <a:r>
                  <a:rPr lang="en-US" sz="4250" spc="85" dirty="0">
                    <a:solidFill>
                      <a:srgbClr val="FFFFFF"/>
                    </a:solidFill>
                    <a:latin typeface="Pinyon Script"/>
                  </a:rPr>
                  <a:t>David Levy</a:t>
                </a:r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3507176" y="2172801"/>
                <a:ext cx="542147" cy="35850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3435"/>
                  </a:lnSpc>
                  <a:spcBef>
                    <a:spcPct val="0"/>
                  </a:spcBef>
                </a:pPr>
                <a:r>
                  <a:rPr lang="en-US" sz="1753" u="none" spc="35" dirty="0">
                    <a:solidFill>
                      <a:srgbClr val="FFFFFF"/>
                    </a:solidFill>
                    <a:latin typeface="Pinyon Script"/>
                  </a:rPr>
                  <a:t>and</a:t>
                </a:r>
              </a:p>
            </p:txBody>
          </p:sp>
        </p:grpSp>
        <p:sp>
          <p:nvSpPr>
            <p:cNvPr id="36" name="TemplateLAB"/>
            <p:cNvSpPr/>
            <p:nvPr/>
          </p:nvSpPr>
          <p:spPr>
            <a:xfrm>
              <a:off x="3518356" y="9502851"/>
              <a:ext cx="519787" cy="85765"/>
            </a:xfrm>
            <a:custGeom>
              <a:avLst/>
              <a:gdLst/>
              <a:ahLst/>
              <a:cxnLst/>
              <a:rect l="l" t="t" r="r" b="b"/>
              <a:pathLst>
                <a:path w="519787" h="85765">
                  <a:moveTo>
                    <a:pt x="0" y="0"/>
                  </a:moveTo>
                  <a:lnTo>
                    <a:pt x="519788" y="0"/>
                  </a:lnTo>
                  <a:lnTo>
                    <a:pt x="519788" y="85765"/>
                  </a:lnTo>
                  <a:lnTo>
                    <a:pt x="0" y="8576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7">
                <a:extLs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</TotalTime>
  <Words>60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Ovo</vt:lpstr>
      <vt:lpstr>Arial</vt:lpstr>
      <vt:lpstr>Calibri</vt:lpstr>
      <vt:lpstr>Playfair Display SemiBold</vt:lpstr>
      <vt:lpstr>Pinyon Scrip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Wedding program - A4 Portrait</dc:title>
  <dc:creator>Hoang Anh</dc:creator>
  <cp:lastModifiedBy>Hoang Anh</cp:lastModifiedBy>
  <cp:revision>31</cp:revision>
  <dcterms:created xsi:type="dcterms:W3CDTF">2006-08-16T00:00:00Z</dcterms:created>
  <dcterms:modified xsi:type="dcterms:W3CDTF">2024-04-27T07:39:03Z</dcterms:modified>
  <dc:identifier>DAGDhuXIiCA</dc:identifier>
</cp:coreProperties>
</file>